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310"/>
    <p:restoredTop sz="95897"/>
  </p:normalViewPr>
  <p:slideViewPr>
    <p:cSldViewPr>
      <p:cViewPr>
        <p:scale>
          <a:sx n="100" d="100"/>
          <a:sy n="100" d="100"/>
        </p:scale>
        <p:origin x="-13416" y="-14848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2104968656"/>
        <c:axId val="-2104867792"/>
      </c:lineChart>
      <c:catAx>
        <c:axId val="-210496865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04867792"/>
        <c:crosses val="autoZero"/>
        <c:auto val="1"/>
        <c:lblAlgn val="ctr"/>
        <c:lblOffset val="100"/>
        <c:noMultiLvlLbl val="0"/>
      </c:catAx>
      <c:valAx>
        <c:axId val="-2104867792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04968656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117238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</a:t>
            </a:r>
            <a:r>
              <a:rPr lang="en-US" dirty="0" smtClean="0"/>
              <a:t>routers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7403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7417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00" y="3409349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132" y="3677703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6600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Can we implement a new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data-plane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algorithm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</a:t>
            </a:r>
            <a:r>
              <a:rPr lang="en-US" sz="2773" b="1" dirty="0" smtClean="0"/>
              <a:t>router</a:t>
            </a:r>
            <a:r>
              <a:rPr lang="en-US" sz="2773" b="1" dirty="0" smtClean="0"/>
              <a:t> </a:t>
            </a:r>
            <a:r>
              <a:rPr lang="en-US" sz="2773" b="1" dirty="0"/>
              <a:t>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204979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</a:t>
            </a:r>
            <a:r>
              <a:rPr lang="en-US" sz="2773" b="1" dirty="0" smtClean="0"/>
              <a:t>routers</a:t>
            </a:r>
            <a:endParaRPr lang="en-US" sz="2773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859915" y="25851153"/>
            <a:ext cx="10650366" cy="500984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900431" cy="567406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608195" y="5208032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78869" cy="473386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22707600" y="10925360"/>
            <a:ext cx="9372600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2867741" y="16175478"/>
            <a:ext cx="9212459" cy="829613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1882612" y="1919513"/>
            <a:ext cx="2909322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Alvin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Cheung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smtClean="0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Kim, Steve Licking,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Nick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George Varghese</a:t>
            </a:r>
            <a:endParaRPr lang="en-US" sz="3600" dirty="0">
              <a:latin typeface="Gadugi" charset="0"/>
              <a:ea typeface="Gadugi" charset="0"/>
              <a:cs typeface="Gadugi" charset="0"/>
            </a:endParaRP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829423" y="15294863"/>
            <a:ext cx="6847977" cy="125419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hardware and software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2215908" y="17830800"/>
            <a:ext cx="9781454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</a:t>
            </a:r>
            <a:r>
              <a:rPr lang="en-US" sz="2773" b="1" dirty="0" smtClean="0"/>
              <a:t>routers</a:t>
            </a:r>
            <a:endParaRPr lang="en-US" sz="2773" b="1" dirty="0"/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2"/>
            <a:ext cx="9822703" cy="61368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4915146" y="18444097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8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894508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1951291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724454"/>
              </p:ext>
            </p:extLst>
          </p:nvPr>
        </p:nvGraphicFramePr>
        <p:xfrm>
          <a:off x="12733676" y="24372973"/>
          <a:ext cx="8696364" cy="60198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9635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79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96827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  <a:endParaRPr lang="en-US" sz="2400" b="0" dirty="0" smtClean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atoms/stage</a:t>
                      </a:r>
                      <a:endParaRPr lang="en-US" sz="2400" b="0" baseline="0" dirty="0" smtClean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te Control Protoco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552432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763661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Two abstractions </a:t>
            </a:r>
            <a:r>
              <a:rPr lang="en-US" sz="2773" b="1" dirty="0"/>
              <a:t>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6974800"/>
            <a:ext cx="831615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</a:t>
            </a:r>
            <a:r>
              <a:rPr lang="en-US" sz="2700" dirty="0" smtClean="0">
                <a:latin typeface="Gadugi" charset="0"/>
                <a:ea typeface="Gadugi" charset="0"/>
                <a:cs typeface="Gadugi" charset="0"/>
              </a:rPr>
              <a:t>router pipeline</a:t>
            </a:r>
          </a:p>
          <a:p>
            <a:pPr marL="700088" lvl="1" indent="-263525">
              <a:buFont typeface="Arial" charset="0"/>
              <a:buChar char="•"/>
            </a:pPr>
            <a:endParaRPr lang="en-US" sz="2700" dirty="0">
              <a:latin typeface="Gadugi" charset="0"/>
              <a:ea typeface="Gadugi" charset="0"/>
              <a:cs typeface="Gadugi" charset="0"/>
            </a:endParaRP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</a:t>
            </a:r>
            <a:r>
              <a:rPr lang="en-US" sz="2700" dirty="0" smtClean="0">
                <a:latin typeface="Gadugi" charset="0"/>
                <a:ea typeface="Gadugi" charset="0"/>
                <a:cs typeface="Gadugi" charset="0"/>
              </a:rPr>
              <a:t>First-Out (PIFO)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8763000" cy="2246727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on</a:t>
            </a:r>
          </a:p>
          <a:p>
            <a:pPr marL="700087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 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abstractions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Need an expressive abstraction </a:t>
            </a:r>
            <a:r>
              <a:rPr lang="en-US" sz="3600" dirty="0" smtClean="0">
                <a:latin typeface="Gadugi" charset="0"/>
                <a:cs typeface="Gadugi" charset="0"/>
              </a:rPr>
              <a:t>that can run </a:t>
            </a:r>
            <a:r>
              <a:rPr lang="en-US" sz="3600" dirty="0">
                <a:latin typeface="Gadugi" charset="0"/>
                <a:cs typeface="Gadugi" charset="0"/>
              </a:rPr>
              <a:t>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ackets are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sent</a:t>
            </a: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determined before </a:t>
            </a:r>
            <a:r>
              <a:rPr lang="en-US" sz="2430" dirty="0" err="1" smtClean="0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 smtClean="0">
              <a:latin typeface="Gadugi" charset="0"/>
              <a:ea typeface="Gadugi" charset="0"/>
              <a:cs typeface="Gadugi" charset="0"/>
            </a:endParaRP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i.e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3172526" y="17118691"/>
            <a:ext cx="4441171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8266561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3647754" y="21017451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8345690" y="21012986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3088600" y="21576893"/>
            <a:ext cx="8907673" cy="120112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3317200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3010250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4841200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73161" y="25664413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3164800" y="29291334"/>
            <a:ext cx="8727121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Meets timing </a:t>
            </a:r>
            <a:r>
              <a:rPr lang="en-US" sz="3600" dirty="0" smtClean="0">
                <a:latin typeface="Gadugi" charset="0"/>
                <a:cs typeface="Gadugi" charset="0"/>
              </a:rPr>
              <a:t>@ 1 </a:t>
            </a:r>
            <a:r>
              <a:rPr lang="en-US" sz="3600" dirty="0">
                <a:latin typeface="Gadugi" charset="0"/>
                <a:cs typeface="Gadugi" charset="0"/>
              </a:rPr>
              <a:t>GHz,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2642" y="3294256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3231"/>
            <a:ext cx="3962399" cy="1374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797949" y="12336340"/>
            <a:ext cx="7847213" cy="3539161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2420600" y="15790008"/>
            <a:ext cx="9226808" cy="116416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 router’s atoms form its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55505" y="6305902"/>
            <a:ext cx="8864600" cy="3092537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3916398" y="9423192"/>
            <a:ext cx="6235211" cy="110066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3142072" y="18009319"/>
            <a:ext cx="460600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f = flow(p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max(T[f].finish,                	               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     </a:t>
            </a: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virtual_time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T[f].finish =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+ </a:t>
            </a: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len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/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w</a:t>
            </a:r>
            <a:endParaRPr lang="en-US" sz="2200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rank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endParaRPr lang="en-US" sz="2200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7606077" y="18793871"/>
            <a:ext cx="613239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4</TotalTime>
  <Words>504</Words>
  <Application>Microsoft Macintosh PowerPoint</Application>
  <PresentationFormat>Custom</PresentationFormat>
  <Paragraphs>16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54</cp:revision>
  <cp:lastPrinted>2015-11-18T19:46:51Z</cp:lastPrinted>
  <dcterms:created xsi:type="dcterms:W3CDTF">2015-11-18T16:41:48Z</dcterms:created>
  <dcterms:modified xsi:type="dcterms:W3CDTF">2016-07-09T18:48:58Z</dcterms:modified>
</cp:coreProperties>
</file>